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2" r:id="rId1"/>
    <p:sldMasterId id="2147484341" r:id="rId2"/>
  </p:sldMasterIdLst>
  <p:notesMasterIdLst>
    <p:notesMasterId r:id="rId6"/>
  </p:notesMasterIdLst>
  <p:handoutMasterIdLst>
    <p:handoutMasterId r:id="rId7"/>
  </p:handoutMasterIdLst>
  <p:sldIdLst>
    <p:sldId id="5844" r:id="rId3"/>
    <p:sldId id="5846" r:id="rId4"/>
    <p:sldId id="5845" r:id="rId5"/>
  </p:sldIdLst>
  <p:sldSz cx="12192000" cy="6858000"/>
  <p:notesSz cx="6797675" cy="9926638"/>
  <p:custDataLst>
    <p:tags r:id="rId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8" pos="7358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1" pos="212" userDrawn="1">
          <p15:clr>
            <a:srgbClr val="A4A3A4"/>
          </p15:clr>
        </p15:guide>
        <p15:guide id="12" orient="horz" pos="4133" userDrawn="1">
          <p15:clr>
            <a:srgbClr val="A4A3A4"/>
          </p15:clr>
        </p15:guide>
        <p15:guide id="13" orient="horz" pos="595" userDrawn="1">
          <p15:clr>
            <a:srgbClr val="A4A3A4"/>
          </p15:clr>
        </p15:guide>
        <p15:guide id="15" orient="horz" pos="2001" userDrawn="1">
          <p15:clr>
            <a:srgbClr val="A4A3A4"/>
          </p15:clr>
        </p15:guide>
        <p15:guide id="16" orient="horz" pos="4201" userDrawn="1">
          <p15:clr>
            <a:srgbClr val="A4A3A4"/>
          </p15:clr>
        </p15:guide>
        <p15:guide id="18" orient="horz" pos="3498" userDrawn="1">
          <p15:clr>
            <a:srgbClr val="A4A3A4"/>
          </p15:clr>
        </p15:guide>
        <p15:guide id="20" orient="horz" pos="4065" userDrawn="1">
          <p15:clr>
            <a:srgbClr val="A4A3A4"/>
          </p15:clr>
        </p15:guide>
        <p15:guide id="21" orient="horz" pos="1366" userDrawn="1">
          <p15:clr>
            <a:srgbClr val="A4A3A4"/>
          </p15:clr>
        </p15:guide>
        <p15:guide id="23" pos="4063" userDrawn="1">
          <p15:clr>
            <a:srgbClr val="A4A3A4"/>
          </p15:clr>
        </p15:guide>
        <p15:guide id="25" pos="1383" userDrawn="1">
          <p15:clr>
            <a:srgbClr val="A4A3A4"/>
          </p15:clr>
        </p15:guide>
        <p15:guide id="26" pos="267" userDrawn="1">
          <p15:clr>
            <a:srgbClr val="A4A3A4"/>
          </p15:clr>
        </p15:guide>
        <p15:guide id="27" orient="horz" pos="1480" userDrawn="1">
          <p15:clr>
            <a:srgbClr val="A4A3A4"/>
          </p15:clr>
        </p15:guide>
        <p15:guide id="29" pos="7385" userDrawn="1">
          <p15:clr>
            <a:srgbClr val="A4A3A4"/>
          </p15:clr>
        </p15:guide>
        <p15:guide id="30" pos="1104" userDrawn="1">
          <p15:clr>
            <a:srgbClr val="A4A3A4"/>
          </p15:clr>
        </p15:guide>
        <p15:guide id="32" pos="322" userDrawn="1">
          <p15:clr>
            <a:srgbClr val="A4A3A4"/>
          </p15:clr>
        </p15:guide>
        <p15:guide id="33" pos="5515" userDrawn="1">
          <p15:clr>
            <a:srgbClr val="A4A3A4"/>
          </p15:clr>
        </p15:guide>
        <p15:guide id="34" pos="7468" userDrawn="1">
          <p15:clr>
            <a:srgbClr val="A4A3A4"/>
          </p15:clr>
        </p15:guide>
        <p15:guide id="35" orient="horz" pos="3339" userDrawn="1">
          <p15:clr>
            <a:srgbClr val="A4A3A4"/>
          </p15:clr>
        </p15:guide>
        <p15:guide id="36" pos="3617" userDrawn="1">
          <p15:clr>
            <a:srgbClr val="A4A3A4"/>
          </p15:clr>
        </p15:guide>
        <p15:guide id="37" orient="horz" pos="1797" userDrawn="1">
          <p15:clr>
            <a:srgbClr val="A4A3A4"/>
          </p15:clr>
        </p15:guide>
        <p15:guide id="38" orient="horz" pos="3407" userDrawn="1">
          <p15:clr>
            <a:srgbClr val="A4A3A4"/>
          </p15:clr>
        </p15:guide>
        <p15:guide id="39" orient="horz" pos="2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0099"/>
    <a:srgbClr val="0000FF"/>
    <a:srgbClr val="33CC33"/>
    <a:srgbClr val="008000"/>
    <a:srgbClr val="666666"/>
    <a:srgbClr val="BFBFBF"/>
    <a:srgbClr val="007F00"/>
    <a:srgbClr val="4285F4"/>
    <a:srgbClr val="1A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11" autoAdjust="0"/>
    <p:restoredTop sz="95320" autoAdjust="0"/>
  </p:normalViewPr>
  <p:slideViewPr>
    <p:cSldViewPr snapToObjects="1">
      <p:cViewPr varScale="1">
        <p:scale>
          <a:sx n="114" d="100"/>
          <a:sy n="114" d="100"/>
        </p:scale>
        <p:origin x="1050" y="90"/>
      </p:cViewPr>
      <p:guideLst>
        <p:guide orient="horz" pos="391"/>
        <p:guide pos="7358"/>
        <p:guide pos="3840"/>
        <p:guide pos="212"/>
        <p:guide orient="horz" pos="4133"/>
        <p:guide orient="horz" pos="595"/>
        <p:guide orient="horz" pos="2001"/>
        <p:guide orient="horz" pos="4201"/>
        <p:guide orient="horz" pos="3498"/>
        <p:guide orient="horz" pos="4065"/>
        <p:guide orient="horz" pos="1366"/>
        <p:guide pos="4063"/>
        <p:guide pos="1383"/>
        <p:guide pos="267"/>
        <p:guide orient="horz" pos="1480"/>
        <p:guide pos="7385"/>
        <p:guide pos="1104"/>
        <p:guide pos="322"/>
        <p:guide pos="5515"/>
        <p:guide pos="7468"/>
        <p:guide orient="horz" pos="3339"/>
        <p:guide pos="3617"/>
        <p:guide orient="horz" pos="1797"/>
        <p:guide orient="horz" pos="3407"/>
        <p:guide orient="horz" pos="2795"/>
      </p:guideLst>
    </p:cSldViewPr>
  </p:slideViewPr>
  <p:outlineViewPr>
    <p:cViewPr>
      <p:scale>
        <a:sx n="33" d="100"/>
        <a:sy n="33" d="100"/>
      </p:scale>
      <p:origin x="0" y="1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Objects="1">
      <p:cViewPr varScale="1">
        <p:scale>
          <a:sx n="49" d="100"/>
          <a:sy n="49" d="100"/>
        </p:scale>
        <p:origin x="2680" y="6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3D5BFC1-A092-4009-988B-F2492AA0D6BC}" type="datetimeFigureOut">
              <a:rPr lang="ko-KR" altLang="en-US" smtClean="0">
                <a:latin typeface="나눔고딕"/>
              </a:rPr>
              <a:pPr/>
              <a:t>2026-04-27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314D323F-8609-4328-8339-744FA241958E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517957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>
                <a:ea typeface="나눔고딕"/>
              </a:defRPr>
            </a:lvl1pPr>
          </a:lstStyle>
          <a:p>
            <a:fld id="{EC1BA96A-503D-4F16-8A2A-91BBD43DFCCB}" type="datetimeFigureOut">
              <a:rPr lang="ko-KR" altLang="en-US" smtClean="0">
                <a:latin typeface="나눔고딕"/>
              </a:rPr>
              <a:pPr/>
              <a:t>2026-04-27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r>
              <a:rPr lang="ko-KR" altLang="en-US" dirty="0" smtClean="0">
                <a:latin typeface="나눔고딕"/>
              </a:rPr>
              <a:t>ㅇ</a:t>
            </a:r>
            <a:endParaRPr lang="ko-KR" altLang="en-US" dirty="0">
              <a:latin typeface="나눔고딕"/>
            </a:endParaRPr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>
                <a:ea typeface="나눔고딕"/>
              </a:defRPr>
            </a:lvl1pPr>
          </a:lstStyle>
          <a:p>
            <a:fld id="{CD6D0A05-E54D-456D-BA91-B2262AADA201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480368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29500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57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0" y="638"/>
            <a:ext cx="12196597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07384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9391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1123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551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48107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6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2" y="-1165"/>
            <a:ext cx="12196594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39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2" y="638"/>
            <a:ext cx="12196594" cy="6860331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11488764" y="6510688"/>
            <a:ext cx="684569" cy="374697"/>
          </a:xfrm>
          <a:prstGeom prst="rect">
            <a:avLst/>
          </a:prstGeom>
        </p:spPr>
        <p:txBody>
          <a:bodyPr vert="horz" lIns="0" tIns="0" rIns="88615" bIns="0" rtlCol="0" anchor="ctr"/>
          <a:lstStyle/>
          <a:p>
            <a:pPr algn="r">
              <a:defRPr/>
            </a:pPr>
            <a:fld id="{C518B652-5059-46A7-89D9-3F882A9610B1}" type="slidenum">
              <a:rPr lang="en-US" altLang="ko-KR" sz="1354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en-US" altLang="ko-KR" sz="1354" dirty="0">
              <a:solidFill>
                <a:sysClr val="windowText" lastClr="000000">
                  <a:lumMod val="65000"/>
                  <a:lumOff val="35000"/>
                </a:sys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13765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54"/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4765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1594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2339" y="1709739"/>
            <a:ext cx="10515600" cy="2852737"/>
          </a:xfrm>
        </p:spPr>
        <p:txBody>
          <a:bodyPr anchor="b"/>
          <a:lstStyle>
            <a:lvl1pPr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2339" y="4589464"/>
            <a:ext cx="10515600" cy="1500187"/>
          </a:xfrm>
        </p:spPr>
        <p:txBody>
          <a:bodyPr/>
          <a:lstStyle>
            <a:lvl1pPr marL="0" indent="0">
              <a:buNone/>
              <a:defRPr sz="2954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9457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64015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89785" y="1825625"/>
            <a:ext cx="5164016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6922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365126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0154" y="1681163"/>
            <a:ext cx="5158154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40154" y="2505075"/>
            <a:ext cx="5158154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553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553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3932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326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96328695"/>
              </p:ext>
            </p:extLst>
          </p:nvPr>
        </p:nvGraphicFramePr>
        <p:xfrm>
          <a:off x="2130" y="1621"/>
          <a:ext cx="195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6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0" y="1621"/>
                        <a:ext cx="1952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14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14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51BE08FB-A18B-4859-A6E6-B20CCC533AF2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6-04-27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18" y="635689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1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16" y="637"/>
            <a:ext cx="12190201" cy="685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3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4371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ctr" defTabSz="1125444" rtl="0" eaLnBrk="1" latinLnBrk="1" hangingPunct="1">
        <a:spcBef>
          <a:spcPct val="0"/>
        </a:spcBef>
        <a:buNone/>
        <a:defRPr sz="5416" kern="1200">
          <a:solidFill>
            <a:schemeClr val="tx1"/>
          </a:solidFill>
          <a:latin typeface="나눔고딕"/>
          <a:ea typeface="나눔고딕"/>
          <a:cs typeface="+mj-cs"/>
          <a:sym typeface="나눔고딕"/>
        </a:defRPr>
      </a:lvl1pPr>
    </p:titleStyle>
    <p:bodyStyle>
      <a:lvl1pPr marL="422041" indent="-42204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3939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1pPr>
      <a:lvl2pPr marL="914423" indent="-35170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3446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2pPr>
      <a:lvl3pPr marL="1406804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3pPr>
      <a:lvl4pPr marL="1969526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4pPr>
      <a:lvl5pPr marL="2532248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»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5pPr>
      <a:lvl6pPr marL="3094970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FDB77-E8DD-4174-960C-093AC08E83A7}" type="datetimeFigureOut">
              <a:rPr lang="ko-KR" altLang="en-US" smtClean="0"/>
              <a:t>2026-04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570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1125444" rtl="0" eaLnBrk="1" latinLnBrk="1" hangingPunct="1">
        <a:lnSpc>
          <a:spcPct val="90000"/>
        </a:lnSpc>
        <a:spcBef>
          <a:spcPct val="0"/>
        </a:spcBef>
        <a:buNone/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1361" indent="-281361" algn="l" defTabSz="1125444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+mn-lt"/>
          <a:ea typeface="+mn-ea"/>
          <a:cs typeface="+mn-cs"/>
        </a:defRPr>
      </a:lvl1pPr>
      <a:lvl2pPr marL="84408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268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1600" dirty="0" smtClean="0">
                <a:solidFill>
                  <a:srgbClr val="1F497D">
                    <a:lumMod val="50000"/>
                  </a:srgbClr>
                </a:solidFill>
              </a:rPr>
              <a:t>교보생명</a:t>
            </a:r>
            <a:r>
              <a:rPr lang="en-US" altLang="ko-KR" sz="2400" smtClean="0">
                <a:solidFill>
                  <a:srgbClr val="1F497D">
                    <a:lumMod val="50000"/>
                  </a:srgbClr>
                </a:solidFill>
              </a:rPr>
              <a:t>_</a:t>
            </a:r>
            <a:r>
              <a:rPr lang="ko-KR" altLang="en-US" sz="2400" smtClean="0">
                <a:solidFill>
                  <a:srgbClr val="1F497D">
                    <a:lumMod val="50000"/>
                  </a:srgbClr>
                </a:solidFill>
              </a:rPr>
              <a:t>과제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해결 제안서 요약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108" name="표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89114"/>
              </p:ext>
            </p:extLst>
          </p:nvPr>
        </p:nvGraphicFramePr>
        <p:xfrm>
          <a:off x="155340" y="984842"/>
          <a:ext cx="11881321" cy="5475956"/>
        </p:xfrm>
        <a:graphic>
          <a:graphicData uri="http://schemas.openxmlformats.org/drawingml/2006/table">
            <a:tbl>
              <a:tblPr/>
              <a:tblGrid>
                <a:gridCol w="15481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5638">
                  <a:extLst>
                    <a:ext uri="{9D8B030D-6E8A-4147-A177-3AD203B41FA5}">
                      <a16:colId xmlns:a16="http://schemas.microsoft.com/office/drawing/2014/main" val="2510701308"/>
                    </a:ext>
                  </a:extLst>
                </a:gridCol>
                <a:gridCol w="1165573">
                  <a:extLst>
                    <a:ext uri="{9D8B030D-6E8A-4147-A177-3AD203B41FA5}">
                      <a16:colId xmlns:a16="http://schemas.microsoft.com/office/drawing/2014/main" val="157567756"/>
                    </a:ext>
                  </a:extLst>
                </a:gridCol>
                <a:gridCol w="45997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2169">
                  <a:extLst>
                    <a:ext uri="{9D8B030D-6E8A-4147-A177-3AD203B41FA5}">
                      <a16:colId xmlns:a16="http://schemas.microsoft.com/office/drawing/2014/main" val="875887370"/>
                    </a:ext>
                  </a:extLst>
                </a:gridCol>
              </a:tblGrid>
              <a:tr h="12659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스타트업 명</a:t>
                      </a:r>
                      <a:endParaRPr kumimoji="1" lang="en-US" altLang="ko-KR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4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지원 분야</a:t>
                      </a:r>
                      <a:endParaRPr kumimoji="1" lang="ko-KR" altLang="en-US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 (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마케팅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 고객 지원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계사 영업지원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 관리자 지원</a:t>
                      </a:r>
                      <a:endParaRPr lang="en-US" altLang="ko-KR" sz="1200" b="1" i="0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2. (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상품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위험률 개발 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예측</a:t>
                      </a:r>
                      <a:endParaRPr lang="en-US" altLang="ko-KR" sz="1200" b="1" i="0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3. (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헬스케어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Biz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모델 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건강 관리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증진 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EAP 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서비스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4. (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디지털 자산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WEB3/ STO/RWA/</a:t>
                      </a:r>
                      <a:r>
                        <a:rPr lang="ko-KR" altLang="en-US" sz="1200" b="1" i="0" baseline="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테이블코인</a:t>
                      </a:r>
                      <a:endParaRPr lang="en-US" altLang="ko-KR" sz="1200" b="1" i="0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5. (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AI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적정성 평가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en-US" altLang="ko-KR" sz="11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율 제안</a:t>
                      </a:r>
                      <a:endParaRPr lang="en-US" altLang="ko-KR" sz="1400" b="1" i="0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81280" indent="0" algn="ctr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sng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융사</a:t>
                      </a:r>
                      <a:r>
                        <a:rPr lang="ko-KR" altLang="en-US" sz="1000" b="1" i="0" u="sng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협업 이력 여부</a:t>
                      </a:r>
                      <a:endParaRPr lang="en-US" altLang="ko-KR" sz="1000" b="1" i="0" u="sng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ctr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ctr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□ 있음</a:t>
                      </a:r>
                      <a:endParaRPr lang="en-US" altLang="ko-KR" sz="9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ctr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81280" indent="0" algn="ctr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□ 없음</a:t>
                      </a: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72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제안 과제 정의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주제 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/ 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목적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예</a:t>
                      </a:r>
                      <a:r>
                        <a:rPr lang="en-US" altLang="ko-KR" sz="1100" b="0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디지털 채널 이용 고객 행동 분석을 통한 마케팅 기회 발굴 및 프로세스 최적화 </a:t>
                      </a:r>
                      <a:endParaRPr lang="ko-KR" altLang="en-US" sz="1100" b="0" i="1" dirty="0">
                        <a:solidFill>
                          <a:schemeClr val="accent4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65746"/>
                  </a:ext>
                </a:extLst>
              </a:tr>
              <a:tr h="23750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추진 내용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협업 기간 동안</a:t>
                      </a: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)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463188"/>
                  </a:ext>
                </a:extLst>
              </a:tr>
              <a:tr h="9022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기대 효과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598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5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9783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해결 제안서 상세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: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회사 소개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+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제안 내용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5400" y="2024844"/>
            <a:ext cx="10843573" cy="147441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 algn="ctr">
              <a:defRPr/>
            </a:pPr>
            <a:r>
              <a:rPr lang="ko-KR" altLang="en-US" sz="2400" u="sng" dirty="0" smtClean="0">
                <a:solidFill>
                  <a:srgbClr val="1F497D">
                    <a:lumMod val="50000"/>
                  </a:srgbClr>
                </a:solidFill>
              </a:rPr>
              <a:t>요약 </a:t>
            </a:r>
            <a:r>
              <a:rPr lang="ko-KR" altLang="en-US" sz="2400" u="sng" dirty="0" err="1" smtClean="0">
                <a:solidFill>
                  <a:srgbClr val="1F497D">
                    <a:lumMod val="50000"/>
                  </a:srgbClr>
                </a:solidFill>
              </a:rPr>
              <a:t>장표를</a:t>
            </a:r>
            <a:r>
              <a:rPr lang="ko-KR" altLang="en-US" sz="2400" u="sng" dirty="0" smtClean="0">
                <a:solidFill>
                  <a:srgbClr val="1F497D">
                    <a:lumMod val="50000"/>
                  </a:srgbClr>
                </a:solidFill>
              </a:rPr>
              <a:t> 제외한 상세 내용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은 </a:t>
            </a:r>
            <a:r>
              <a:rPr lang="ko-KR" altLang="en-US" sz="3600" dirty="0" smtClean="0">
                <a:solidFill>
                  <a:srgbClr val="C00000"/>
                </a:solidFill>
              </a:rPr>
              <a:t>자율 양식</a:t>
            </a:r>
            <a:r>
              <a:rPr lang="en-US" altLang="ko-KR" sz="3600" dirty="0" smtClean="0">
                <a:solidFill>
                  <a:srgbClr val="C00000"/>
                </a:solidFill>
              </a:rPr>
              <a:t>(</a:t>
            </a:r>
            <a:r>
              <a:rPr lang="ko-KR" altLang="en-US" sz="3600" dirty="0" smtClean="0">
                <a:solidFill>
                  <a:srgbClr val="C00000"/>
                </a:solidFill>
              </a:rPr>
              <a:t>귀사 양식</a:t>
            </a:r>
            <a:r>
              <a:rPr lang="en-US" altLang="ko-KR" sz="3600" dirty="0" smtClean="0">
                <a:solidFill>
                  <a:srgbClr val="C00000"/>
                </a:solidFill>
              </a:rPr>
              <a:t>)</a:t>
            </a:r>
            <a:r>
              <a:rPr lang="ko-KR" altLang="en-US" sz="3600" dirty="0" smtClean="0">
                <a:solidFill>
                  <a:srgbClr val="C00000"/>
                </a:solidFill>
              </a:rPr>
              <a:t> 사용</a:t>
            </a:r>
            <a:endParaRPr lang="en-US" altLang="ko-KR" sz="3600" dirty="0" smtClean="0">
              <a:solidFill>
                <a:srgbClr val="C00000"/>
              </a:solidFill>
            </a:endParaRPr>
          </a:p>
          <a:p>
            <a:pPr lvl="0" algn="ctr">
              <a:defRPr/>
            </a:pPr>
            <a:endParaRPr lang="en-US" altLang="ko-KR" sz="3600" dirty="0">
              <a:solidFill>
                <a:srgbClr val="C00000"/>
              </a:solidFill>
            </a:endParaRPr>
          </a:p>
          <a:p>
            <a:pPr lvl="0" algn="ctr">
              <a:defRPr/>
            </a:pPr>
            <a:r>
              <a:rPr lang="en-US" altLang="ko-KR" sz="2000" dirty="0" smtClean="0">
                <a:solidFill>
                  <a:srgbClr val="C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860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4980" y="224644"/>
            <a:ext cx="10843573" cy="335640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1800" dirty="0" smtClean="0">
                <a:solidFill>
                  <a:srgbClr val="1F497D">
                    <a:lumMod val="50000"/>
                  </a:srgbClr>
                </a:solidFill>
              </a:rPr>
              <a:t>참고 </a:t>
            </a:r>
            <a:r>
              <a:rPr lang="en-US" altLang="ko-KR" sz="1800" dirty="0" smtClean="0">
                <a:solidFill>
                  <a:srgbClr val="1F497D">
                    <a:lumMod val="50000"/>
                  </a:srgbClr>
                </a:solidFill>
              </a:rPr>
              <a:t>: </a:t>
            </a:r>
            <a:r>
              <a:rPr lang="ko-KR" altLang="en-US" sz="1800" dirty="0" smtClean="0">
                <a:solidFill>
                  <a:srgbClr val="1F497D">
                    <a:lumMod val="50000"/>
                  </a:srgbClr>
                </a:solidFill>
              </a:rPr>
              <a:t>과제해결제안서 내 필수 포함 내용</a:t>
            </a:r>
            <a:endParaRPr lang="ko-KR" altLang="en-US" sz="2215" dirty="0">
              <a:solidFill>
                <a:schemeClr val="tx1"/>
              </a:solidFill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1740241"/>
              </p:ext>
            </p:extLst>
          </p:nvPr>
        </p:nvGraphicFramePr>
        <p:xfrm>
          <a:off x="889619" y="1196752"/>
          <a:ext cx="10081120" cy="4993407"/>
        </p:xfrm>
        <a:graphic>
          <a:graphicData uri="http://schemas.openxmlformats.org/drawingml/2006/table">
            <a:tbl>
              <a:tblPr/>
              <a:tblGrid>
                <a:gridCol w="1044116">
                  <a:extLst>
                    <a:ext uri="{9D8B030D-6E8A-4147-A177-3AD203B41FA5}">
                      <a16:colId xmlns:a16="http://schemas.microsoft.com/office/drawing/2014/main" val="2813073732"/>
                    </a:ext>
                  </a:extLst>
                </a:gridCol>
                <a:gridCol w="9037004">
                  <a:extLst>
                    <a:ext uri="{9D8B030D-6E8A-4147-A177-3AD203B41FA5}">
                      <a16:colId xmlns:a16="http://schemas.microsoft.com/office/drawing/2014/main" val="1763630513"/>
                    </a:ext>
                  </a:extLst>
                </a:gridCol>
              </a:tblGrid>
              <a:tr h="76808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번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요 평가 항목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629603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 과제 해결 요청 사항 이해 및 반영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150338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이디어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솔루션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술의 특징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별성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개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418750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0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협업을 통한 과제 해결안</a:t>
                      </a:r>
                      <a:endParaRPr lang="en-US" altLang="ko-KR" sz="2000" b="1" kern="0" spc="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 </a:t>
                      </a:r>
                      <a:r>
                        <a:rPr lang="ko-KR" altLang="en-US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유 솔루션을 활용한 과제 해결 가능성</a:t>
                      </a:r>
                      <a:r>
                        <a:rPr lang="en-US" altLang="ko-KR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제안의 구체성</a:t>
                      </a:r>
                      <a:r>
                        <a:rPr lang="en-US" altLang="ko-KR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실적 수행 가능</a:t>
                      </a:r>
                      <a:endParaRPr lang="ko-KR" altLang="en-US" sz="14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8440718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25444" rtl="0" eaLnBrk="1" fontAlgn="base" latinLnBrk="1" hangingPunct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실제 솔루션 도입에 따른 기대 효과</a:t>
                      </a:r>
                      <a:r>
                        <a:rPr kumimoji="0" lang="en-US" altLang="ko-KR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교보생명과의 시너지 효과</a:t>
                      </a:r>
                      <a:endParaRPr kumimoji="0" lang="ko-KR" altLang="en-U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8385820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표를 포함한 </a:t>
                      </a: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팀 </a:t>
                      </a:r>
                      <a:r>
                        <a:rPr lang="ko-KR" altLang="en-US" sz="1600" b="1" kern="0" spc="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맴버의</a:t>
                      </a: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역량</a:t>
                      </a:r>
                      <a:r>
                        <a:rPr lang="en-US" altLang="ko-KR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문성 등 기술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661527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 참고할 사항에 대해 자유롭게 기술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086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962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디자인 사용자 지정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base" latinLnBrk="0">
          <a:lnSpc>
            <a:spcPct val="90000"/>
          </a:lnSpc>
          <a:spcBef>
            <a:spcPts val="900"/>
          </a:spcBef>
          <a:defRPr sz="1400" b="1" dirty="0" smtClean="0">
            <a:solidFill>
              <a:schemeClr val="tx1"/>
            </a:solidFill>
            <a:latin typeface="나눔고딕"/>
            <a:ea typeface="나눔고딕"/>
            <a:cs typeface="Arial" pitchFamily="34" charset="0"/>
            <a:sym typeface="나눔고딕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8123</TotalTime>
  <Words>232</Words>
  <Application>Microsoft Office PowerPoint</Application>
  <PresentationFormat>와이드스크린</PresentationFormat>
  <Paragraphs>48</Paragraphs>
  <Slides>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10" baseType="lpstr">
      <vt:lpstr>나눔고딕</vt:lpstr>
      <vt:lpstr>나눔고딕 ExtraBold</vt:lpstr>
      <vt:lpstr>맑은 고딕</vt:lpstr>
      <vt:lpstr>Arial</vt:lpstr>
      <vt:lpstr>2_디자인 사용자 지정</vt:lpstr>
      <vt:lpstr>디자인 사용자 지정</vt:lpstr>
      <vt:lpstr>think-cell Slide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eda_003</dc:creator>
  <cp:lastModifiedBy>정다은(Selina,셀리나)</cp:lastModifiedBy>
  <cp:revision>18836</cp:revision>
  <cp:lastPrinted>2026-04-27T08:03:32Z</cp:lastPrinted>
  <dcterms:created xsi:type="dcterms:W3CDTF">2014-05-15T05:17:47Z</dcterms:created>
  <dcterms:modified xsi:type="dcterms:W3CDTF">2026-04-27T08:16:26Z</dcterms:modified>
</cp:coreProperties>
</file>